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3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3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hyperlink" Target="https://github.com/RaubinsRaj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www.youtube.com/watch?v=bkP4PrlMDfk&amp;t=6s&amp;ab_channel=RaubinsRaj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Flight Booking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050" dirty="0"/>
              <a:t>Completed end to end case study of Flight Booking System along with JWT authentication, Swagger using MERN Stack applications such as MongoDB, ReactJS.</a:t>
            </a:r>
            <a:r>
              <a:rPr lang="en-US" altLang="en-US" sz="1050" dirty="0"/>
              <a:t> React Bootstrap used for designing user interface.</a:t>
            </a:r>
            <a:endParaRPr lang="en-US" altLang="nl-NL" sz="1050" b="1" dirty="0"/>
          </a:p>
          <a:p>
            <a:pPr eaLnBrk="1" hangingPunct="1">
              <a:lnSpc>
                <a:spcPct val="114000"/>
              </a:lnSpc>
            </a:pPr>
            <a:r>
              <a:rPr lang="en-IN" altLang="nl-NL" b="1" dirty="0"/>
              <a:t>Completed “AWS Certified Cloud Practitioner Certificate(AWS CCP)”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nl-NL" sz="1050" dirty="0"/>
              <a:t>Completed the course and have achieved the certificate with necessary knowledge and have understanding about AWS Fundamentals . </a:t>
            </a:r>
            <a:endParaRPr lang="en-US" altLang="nl-NL" sz="1050" dirty="0"/>
          </a:p>
          <a:p>
            <a:pPr eaLnBrk="1" hangingPunct="1">
              <a:lnSpc>
                <a:spcPct val="114000"/>
              </a:lnSpc>
            </a:pPr>
            <a:r>
              <a:rPr lang="en-IN" altLang="nl-NL" b="1" dirty="0"/>
              <a:t>GCP Cloud Digital Leader Certified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nl-NL" sz="1050" dirty="0"/>
              <a:t>Have completed and achieved Google Cloud Platform “Cloud Digital Leader</a:t>
            </a:r>
            <a:r>
              <a:rPr lang="en-IN" altLang="nl-NL" sz="1050"/>
              <a:t>” certificate </a:t>
            </a:r>
            <a:r>
              <a:rPr lang="en-IN" altLang="nl-NL" sz="1050" dirty="0"/>
              <a:t>and have learnt all the needed services in Google Cloud Platform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62852" y="653944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83794" y="135935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Chenn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11300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 dirty="0"/>
              <a:t> </a:t>
            </a:r>
            <a:r>
              <a:rPr lang="nl-NL" altLang="nl-NL" sz="1050" dirty="0"/>
              <a:t>ROSHAN.KUMAR-BEHERA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7826" y="1848339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00336736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</a:t>
            </a:r>
            <a:r>
              <a:rPr lang="en-US" altLang="en-US" sz="1100" dirty="0" err="1"/>
              <a:t>ReactJS</a:t>
            </a:r>
            <a:r>
              <a:rPr lang="en-US" altLang="en-US" sz="1100" dirty="0"/>
              <a:t>(Hooks, </a:t>
            </a:r>
            <a:r>
              <a:rPr lang="en-US" altLang="en-US" sz="1100" dirty="0" err="1"/>
              <a:t>redux</a:t>
            </a:r>
            <a:r>
              <a:rPr lang="en-US" altLang="en-US" sz="1100" dirty="0"/>
              <a:t>)and Java </a:t>
            </a:r>
            <a:r>
              <a:rPr lang="en-US" altLang="en-US" sz="1100" dirty="0" err="1"/>
              <a:t>Microservice</a:t>
            </a:r>
            <a:r>
              <a:rPr lang="en-US" altLang="en-US" sz="1100" dirty="0"/>
              <a:t>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100" dirty="0"/>
              <a:t>Have knowledge about AWS and its fundamentals, when and where AWS can be used.</a:t>
            </a:r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lectronics and Communication Engineering 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ReactJ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Cloud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AWS CC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Flexibil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ponsible &amp; Dedicated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62852" y="299932"/>
            <a:ext cx="6223000" cy="306387"/>
          </a:xfrm>
        </p:spPr>
        <p:txBody>
          <a:bodyPr/>
          <a:lstStyle/>
          <a:p>
            <a:r>
              <a:rPr lang="en-IN" altLang="en-US" dirty="0"/>
              <a:t>Roshan Kumar Behera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627313" y="6280150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4988" y="6402388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/>
              <a:t>Check out my work on GitHub &amp; Video Profile</a:t>
            </a:r>
          </a:p>
        </p:txBody>
      </p:sp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00" y="6280150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5175" y="163824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46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5" r="925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purl.org/dc/dcmitype/"/>
    <ds:schemaRef ds:uri="fd33c62d-2c11-46e7-88a2-e90fa986d9d0"/>
    <ds:schemaRef ds:uri="http://purl.org/dc/elements/1.1/"/>
    <ds:schemaRef ds:uri="http://schemas.microsoft.com/office/2006/metadata/properties"/>
    <ds:schemaRef ds:uri="http://schemas.microsoft.com/office/2006/documentManagement/types"/>
    <ds:schemaRef ds:uri="47da6acf-edf2-43bc-9595-f721a214a14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e0ffb6ef-0000-48aa-9041-fb29fcb198e5"/>
    <ds:schemaRef ds:uri="900c2a09-0d28-449b-b8ad-3e76d664ec44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660E39-8641-4C24-8D3F-B04D6EBD76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ffb6ef-0000-48aa-9041-fb29fcb198e5"/>
    <ds:schemaRef ds:uri="900c2a09-0d28-449b-b8ad-3e76d664ec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77</TotalTime>
  <Words>271</Words>
  <Application>Microsoft Office PowerPoint</Application>
  <PresentationFormat>Widescreen</PresentationFormat>
  <Paragraphs>6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Kumar Behera, Roshan</cp:lastModifiedBy>
  <cp:revision>107</cp:revision>
  <dcterms:created xsi:type="dcterms:W3CDTF">2017-12-08T05:27:40Z</dcterms:created>
  <dcterms:modified xsi:type="dcterms:W3CDTF">2022-11-03T11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</Properties>
</file>